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</p:sldIdLst>
  <p:sldSz cx="9144000" cy="6858000" type="screen4x3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858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 showGuides="1">
      <p:cViewPr varScale="1">
        <p:scale>
          <a:sx n="113" d="100"/>
          <a:sy n="113" d="100"/>
        </p:scale>
        <p:origin x="1452" y="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051CDA-C2DC-4A67-9891-EFC128AF87A1}" type="datetimeFigureOut">
              <a:rPr lang="de-DE" smtClean="0"/>
              <a:t>21.07.201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247CD-7019-4F4E-A39F-F5396644188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63243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051CDA-C2DC-4A67-9891-EFC128AF87A1}" type="datetimeFigureOut">
              <a:rPr lang="de-DE" smtClean="0"/>
              <a:t>21.07.201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247CD-7019-4F4E-A39F-F5396644188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741129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051CDA-C2DC-4A67-9891-EFC128AF87A1}" type="datetimeFigureOut">
              <a:rPr lang="de-DE" smtClean="0"/>
              <a:t>21.07.201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247CD-7019-4F4E-A39F-F5396644188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94681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051CDA-C2DC-4A67-9891-EFC128AF87A1}" type="datetimeFigureOut">
              <a:rPr lang="de-DE" smtClean="0"/>
              <a:t>21.07.201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247CD-7019-4F4E-A39F-F5396644188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23823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051CDA-C2DC-4A67-9891-EFC128AF87A1}" type="datetimeFigureOut">
              <a:rPr lang="de-DE" smtClean="0"/>
              <a:t>21.07.201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247CD-7019-4F4E-A39F-F5396644188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740002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051CDA-C2DC-4A67-9891-EFC128AF87A1}" type="datetimeFigureOut">
              <a:rPr lang="de-DE" smtClean="0"/>
              <a:t>21.07.201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247CD-7019-4F4E-A39F-F5396644188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18259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051CDA-C2DC-4A67-9891-EFC128AF87A1}" type="datetimeFigureOut">
              <a:rPr lang="de-DE" smtClean="0"/>
              <a:t>21.07.2015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247CD-7019-4F4E-A39F-F5396644188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606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051CDA-C2DC-4A67-9891-EFC128AF87A1}" type="datetimeFigureOut">
              <a:rPr lang="de-DE" smtClean="0"/>
              <a:t>21.07.2015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247CD-7019-4F4E-A39F-F5396644188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67873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051CDA-C2DC-4A67-9891-EFC128AF87A1}" type="datetimeFigureOut">
              <a:rPr lang="de-DE" smtClean="0"/>
              <a:t>21.07.2015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247CD-7019-4F4E-A39F-F5396644188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72856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051CDA-C2DC-4A67-9891-EFC128AF87A1}" type="datetimeFigureOut">
              <a:rPr lang="de-DE" smtClean="0"/>
              <a:t>21.07.201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247CD-7019-4F4E-A39F-F5396644188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56229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051CDA-C2DC-4A67-9891-EFC128AF87A1}" type="datetimeFigureOut">
              <a:rPr lang="de-DE" smtClean="0"/>
              <a:t>21.07.201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247CD-7019-4F4E-A39F-F5396644188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408336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0913772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15" imgW="649" imgH="623" progId="TCLayout.ActiveDocument.1">
                  <p:embed/>
                </p:oleObj>
              </mc:Choice>
              <mc:Fallback>
                <p:oleObj name="think-cell Folie" r:id="rId15" imgW="649" imgH="6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051CDA-C2DC-4A67-9891-EFC128AF87A1}" type="datetimeFigureOut">
              <a:rPr lang="de-DE" smtClean="0"/>
              <a:t>21.07.201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D247CD-7019-4F4E-A39F-F5396644188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46918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7022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4" imgW="649" imgH="623" progId="TCLayout.ActiveDocument.1">
                  <p:embed/>
                </p:oleObj>
              </mc:Choice>
              <mc:Fallback>
                <p:oleObj name="think-cell Folie" r:id="rId4" imgW="649" imgH="6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8583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1850" y="3498850"/>
            <a:ext cx="2400300" cy="2400300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0" y="2531539"/>
            <a:ext cx="91440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3200" b="1" smtClean="0">
                <a:solidFill>
                  <a:schemeClr val="bg1"/>
                </a:solidFill>
              </a:rPr>
              <a:t>Käpsele.de </a:t>
            </a:r>
            <a:r>
              <a:rPr lang="de-DE" sz="3200" smtClean="0">
                <a:solidFill>
                  <a:schemeClr val="bg1"/>
                </a:solidFill>
                <a:latin typeface="+mj-lt"/>
              </a:rPr>
              <a:t>Deine Lernplattform</a:t>
            </a:r>
          </a:p>
          <a:p>
            <a:pPr algn="ctr"/>
            <a:endParaRPr lang="de-DE" sz="3200"/>
          </a:p>
        </p:txBody>
      </p:sp>
    </p:spTree>
    <p:extLst>
      <p:ext uri="{BB962C8B-B14F-4D97-AF65-F5344CB8AC3E}">
        <p14:creationId xmlns:p14="http://schemas.microsoft.com/office/powerpoint/2010/main" val="26091291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3</Words>
  <Application>Microsoft Office PowerPoint</Application>
  <PresentationFormat>Bildschirmpräsentation (4:3)</PresentationFormat>
  <Paragraphs>1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think-cell Folie</vt:lpstr>
      <vt:lpstr>PowerPoint-Prä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Hannes Fischer</dc:creator>
  <cp:lastModifiedBy>Hannes Fischer</cp:lastModifiedBy>
  <cp:revision>1</cp:revision>
  <dcterms:created xsi:type="dcterms:W3CDTF">2015-07-21T14:32:42Z</dcterms:created>
  <dcterms:modified xsi:type="dcterms:W3CDTF">2015-07-21T14:45:45Z</dcterms:modified>
</cp:coreProperties>
</file>